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6"/>
  </p:notesMasterIdLst>
  <p:sldIdLst>
    <p:sldId id="307" r:id="rId3"/>
    <p:sldId id="308" r:id="rId4"/>
    <p:sldId id="258" r:id="rId5"/>
    <p:sldId id="330" r:id="rId6"/>
    <p:sldId id="334" r:id="rId7"/>
    <p:sldId id="331" r:id="rId8"/>
    <p:sldId id="332" r:id="rId9"/>
    <p:sldId id="333" r:id="rId10"/>
    <p:sldId id="326" r:id="rId11"/>
    <p:sldId id="327" r:id="rId12"/>
    <p:sldId id="328" r:id="rId13"/>
    <p:sldId id="329" r:id="rId14"/>
    <p:sldId id="31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7" autoAdjust="0"/>
    <p:restoredTop sz="94660"/>
  </p:normalViewPr>
  <p:slideViewPr>
    <p:cSldViewPr>
      <p:cViewPr varScale="1">
        <p:scale>
          <a:sx n="111" d="100"/>
          <a:sy n="111" d="100"/>
        </p:scale>
        <p:origin x="-1644" y="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utomationpractice.com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428714"/>
            <a:ext cx="9144000" cy="5715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chemeClr val="bg1"/>
                </a:solidFill>
                <a:latin typeface="Bell MT" pitchFamily="18" charset="0"/>
                <a:ea typeface="Batang" pitchFamily="18" charset="-127"/>
              </a:rPr>
              <a:t>E-Commerce Website Testing</a:t>
            </a:r>
            <a:endParaRPr lang="en-US" sz="4800" b="1" dirty="0">
              <a:solidFill>
                <a:schemeClr val="bg1"/>
              </a:solidFill>
              <a:latin typeface="Bell MT" pitchFamily="18" charset="0"/>
              <a:ea typeface="Batang" pitchFamily="18" charset="-127"/>
            </a:endParaRPr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8229600" cy="7620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100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TEST CASES</a:t>
            </a:r>
            <a:r>
              <a:rPr lang="en-US" dirty="0">
                <a:latin typeface="Baskerville Old Face" pitchFamily="18" charset="0"/>
              </a:rPr>
              <a:t/>
            </a:r>
            <a:br>
              <a:rPr lang="en-US" dirty="0">
                <a:latin typeface="Baskerville Old Face" pitchFamily="18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Test Cases are divided into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Use case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Intersystem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Security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State Transition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Functional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Cause and effect</a:t>
            </a:r>
            <a:endParaRPr lang="en-US" sz="32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en-US" sz="3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This </a:t>
            </a: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is the link for </a:t>
            </a: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viewing test </a:t>
            </a: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cases </a:t>
            </a: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</a:p>
          <a:p>
            <a:pPr marL="0" indent="0" algn="ctr">
              <a:buNone/>
            </a:pPr>
            <a:endParaRPr lang="en-US" sz="3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052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Defects 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Found:</a:t>
            </a:r>
            <a:endParaRPr lang="en-US" b="1" dirty="0">
              <a:solidFill>
                <a:schemeClr val="accent4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>
                <a:solidFill>
                  <a:schemeClr val="accent3">
                    <a:lumMod val="75000"/>
                  </a:schemeClr>
                </a:solidFill>
              </a:rPr>
              <a:t>This is the link for viewing </a:t>
            </a: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the defect report</a:t>
            </a: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endParaRPr lang="en-US" sz="3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 algn="ctr">
              <a:buNone/>
            </a:pPr>
            <a:endParaRPr lang="en-US" sz="3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CONCLUSION</a:t>
            </a:r>
            <a:endParaRPr lang="en-US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ound moderate number of defects which can solved in 7-8 days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064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571023" y="2967335"/>
            <a:ext cx="6001964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96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Bradley Hand ITC" pitchFamily="66" charset="0"/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TEAM MEMBERS</a:t>
            </a:r>
            <a:endParaRPr lang="en-IN" b="1" dirty="0">
              <a:solidFill>
                <a:schemeClr val="accent4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ilwa Pelapkar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ineet Jaiswal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inmayee Khadapkar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Kavita Maurya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ajib Ghosh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This project is about an e-commerce clothing website.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Website allows user to view products and allows them to purchase it if interested.</a:t>
            </a:r>
            <a:endParaRPr lang="en-US" sz="20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It’s a shopping site which is designed for shopping of women clothing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The </a:t>
            </a: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Application link is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  </a:t>
            </a:r>
            <a:r>
              <a:rPr lang="en-US" sz="2000" dirty="0" smtClean="0">
                <a:solidFill>
                  <a:schemeClr val="tx1"/>
                </a:solidFill>
                <a:hlinkClick r:id="rId2"/>
              </a:rPr>
              <a:t>http://www.automationpractice.com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LOGIN PAGE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5980" y="640080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6" r="48870" b="3598"/>
          <a:stretch/>
        </p:blipFill>
        <p:spPr bwMode="auto">
          <a:xfrm>
            <a:off x="304800" y="1447800"/>
            <a:ext cx="2895600" cy="4343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154" y="1447800"/>
            <a:ext cx="5562600" cy="4343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81000" y="5867400"/>
            <a:ext cx="2538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Registers through email and fills the detail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491154" y="5995559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	My Account page after log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1223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116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371600"/>
            <a:ext cx="8026400" cy="451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5629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ORDER PRODUCT</a:t>
            </a:r>
            <a:endParaRPr lang="en-US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46"/>
          <a:stretch/>
        </p:blipFill>
        <p:spPr bwMode="auto">
          <a:xfrm>
            <a:off x="304799" y="1524000"/>
            <a:ext cx="8534399" cy="4611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4771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ORDER DETAILS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0" t="9823" r="28909" b="7261"/>
          <a:stretch/>
        </p:blipFill>
        <p:spPr bwMode="auto">
          <a:xfrm>
            <a:off x="4648200" y="1286854"/>
            <a:ext cx="4114800" cy="4439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43" b="22519"/>
          <a:stretch/>
        </p:blipFill>
        <p:spPr bwMode="auto">
          <a:xfrm>
            <a:off x="76200" y="1295400"/>
            <a:ext cx="4495799" cy="4439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72962" y="5707060"/>
            <a:ext cx="381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age where user can download the bil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324600" y="5755818"/>
            <a:ext cx="5020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Bill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200533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USE CASE</a:t>
            </a:r>
            <a:endParaRPr lang="en-US" dirty="0">
              <a:solidFill>
                <a:schemeClr val="accent4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308" y="1588477"/>
            <a:ext cx="8229600" cy="45259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1515" y="2025162"/>
            <a:ext cx="69342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val 5"/>
          <p:cNvSpPr/>
          <p:nvPr/>
        </p:nvSpPr>
        <p:spPr>
          <a:xfrm>
            <a:off x="4777153" y="5143500"/>
            <a:ext cx="17526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duct Shipping Details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1981200" y="5829299"/>
            <a:ext cx="1752600" cy="521677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move product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2772508" y="5143499"/>
            <a:ext cx="1752600" cy="468923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odify Details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2754923" y="4381500"/>
            <a:ext cx="1752600" cy="5334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 Product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858108" y="1066800"/>
            <a:ext cx="1752600" cy="4953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2485292" y="1600200"/>
            <a:ext cx="1752600" cy="4953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rder Product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2754923" y="2895600"/>
            <a:ext cx="2253762" cy="4572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 Product To </a:t>
            </a:r>
            <a:r>
              <a:rPr lang="en-US" dirty="0" err="1" smtClean="0"/>
              <a:t>Wishlist</a:t>
            </a:r>
            <a:endParaRPr lang="en-US" dirty="0"/>
          </a:p>
        </p:txBody>
      </p:sp>
      <p:sp>
        <p:nvSpPr>
          <p:cNvPr id="13" name="Oval 12"/>
          <p:cNvSpPr/>
          <p:nvPr/>
        </p:nvSpPr>
        <p:spPr>
          <a:xfrm>
            <a:off x="2781300" y="2224454"/>
            <a:ext cx="1905000" cy="5334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ncel Order</a:t>
            </a:r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1267557" y="3467100"/>
            <a:ext cx="2253762" cy="4572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yment For Product</a:t>
            </a:r>
            <a:endParaRPr lang="en-US" dirty="0"/>
          </a:p>
        </p:txBody>
      </p:sp>
      <p:sp>
        <p:nvSpPr>
          <p:cNvPr id="15" name="Flowchart: Connector 14"/>
          <p:cNvSpPr/>
          <p:nvPr/>
        </p:nvSpPr>
        <p:spPr>
          <a:xfrm>
            <a:off x="457200" y="1847850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lowchart: Connector 15"/>
          <p:cNvSpPr/>
          <p:nvPr/>
        </p:nvSpPr>
        <p:spPr>
          <a:xfrm>
            <a:off x="7391400" y="3009900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lowchart: Connector 16"/>
          <p:cNvSpPr/>
          <p:nvPr/>
        </p:nvSpPr>
        <p:spPr>
          <a:xfrm>
            <a:off x="7620000" y="5065102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lowchart: Connector 17"/>
          <p:cNvSpPr/>
          <p:nvPr/>
        </p:nvSpPr>
        <p:spPr>
          <a:xfrm>
            <a:off x="339969" y="4381500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/>
          <p:cNvCxnSpPr>
            <a:stCxn id="15" idx="4"/>
          </p:cNvCxnSpPr>
          <p:nvPr/>
        </p:nvCxnSpPr>
        <p:spPr>
          <a:xfrm>
            <a:off x="685800" y="2305050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57200" y="2491154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685800" y="275785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H="1">
            <a:off x="457200" y="275785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574431" y="4838700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339969" y="4923692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 flipV="1">
            <a:off x="574431" y="5234353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345831" y="523728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>
            <a:off x="7350369" y="401515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7578969" y="6090137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 flipV="1">
            <a:off x="7578969" y="401515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H="1" flipV="1">
            <a:off x="7848600" y="6066691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7391400" y="3695700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7578969" y="5715000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7590692" y="3471496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7848600" y="5522302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216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57</TotalTime>
  <Words>197</Words>
  <Application>Microsoft Office PowerPoint</Application>
  <PresentationFormat>On-screen Show (4:3)</PresentationFormat>
  <Paragraphs>66</Paragraphs>
  <Slides>1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Executive</vt:lpstr>
      <vt:lpstr>Office Theme</vt:lpstr>
      <vt:lpstr>PowerPoint Presentation</vt:lpstr>
      <vt:lpstr>TEAM MEMBERS</vt:lpstr>
      <vt:lpstr>OVERVIEW OF THE PROJECT</vt:lpstr>
      <vt:lpstr>LOGIN PAGE</vt:lpstr>
      <vt:lpstr>PowerPoint Presentation</vt:lpstr>
      <vt:lpstr>PowerPoint Presentation</vt:lpstr>
      <vt:lpstr>ORDER PRODUCT</vt:lpstr>
      <vt:lpstr>ORDER DETAILS</vt:lpstr>
      <vt:lpstr>USE CASE</vt:lpstr>
      <vt:lpstr>TEST CASES </vt:lpstr>
      <vt:lpstr>Defects Found: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67</cp:revision>
  <dcterms:created xsi:type="dcterms:W3CDTF">2015-08-27T08:52:20Z</dcterms:created>
  <dcterms:modified xsi:type="dcterms:W3CDTF">2018-11-27T12:55:53Z</dcterms:modified>
</cp:coreProperties>
</file>